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1" r:id="rId2"/>
    <p:sldMasterId id="2147483709" r:id="rId3"/>
  </p:sldMasterIdLst>
  <p:notesMasterIdLst>
    <p:notesMasterId r:id="rId5"/>
  </p:notesMasterIdLst>
  <p:sldIdLst>
    <p:sldId id="601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85">
          <p15:clr>
            <a:srgbClr val="A4A3A4"/>
          </p15:clr>
        </p15:guide>
        <p15:guide id="4" orient="horz" pos="910">
          <p15:clr>
            <a:srgbClr val="A4A3A4"/>
          </p15:clr>
        </p15:guide>
        <p15:guide id="5" orient="horz" pos="4046">
          <p15:clr>
            <a:srgbClr val="A4A3A4"/>
          </p15:clr>
        </p15:guide>
        <p15:guide id="6" orient="horz" pos="3732">
          <p15:clr>
            <a:srgbClr val="A4A3A4"/>
          </p15:clr>
        </p15:guide>
        <p15:guide id="7" pos="347">
          <p15:clr>
            <a:srgbClr val="A4A3A4"/>
          </p15:clr>
        </p15:guide>
        <p15:guide id="8" pos="5479">
          <p15:clr>
            <a:srgbClr val="A4A3A4"/>
          </p15:clr>
        </p15:guide>
        <p15:guide id="9" pos="29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th Bayoumi" initials="M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9A27"/>
    <a:srgbClr val="007635"/>
    <a:srgbClr val="004D86"/>
    <a:srgbClr val="CBEEFB"/>
    <a:srgbClr val="0079C8"/>
    <a:srgbClr val="D8C2B9"/>
    <a:srgbClr val="009EE0"/>
    <a:srgbClr val="00335B"/>
    <a:srgbClr val="008385"/>
    <a:srgbClr val="C60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45" autoAdjust="0"/>
    <p:restoredTop sz="93979" autoAdjust="0"/>
  </p:normalViewPr>
  <p:slideViewPr>
    <p:cSldViewPr snapToGrid="0" snapToObjects="1">
      <p:cViewPr varScale="1">
        <p:scale>
          <a:sx n="113" d="100"/>
          <a:sy n="113" d="100"/>
        </p:scale>
        <p:origin x="1656" y="96"/>
      </p:cViewPr>
      <p:guideLst>
        <p:guide orient="horz" pos="2160"/>
        <p:guide pos="2880"/>
        <p:guide orient="horz" pos="485"/>
        <p:guide orient="horz" pos="910"/>
        <p:guide orient="horz" pos="4046"/>
        <p:guide orient="horz" pos="3732"/>
        <p:guide pos="347"/>
        <p:guide pos="5479"/>
        <p:guide pos="2911"/>
      </p:guideLst>
    </p:cSldViewPr>
  </p:slideViewPr>
  <p:outlineViewPr>
    <p:cViewPr>
      <p:scale>
        <a:sx n="33" d="100"/>
        <a:sy n="33" d="100"/>
      </p:scale>
      <p:origin x="0" y="-1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5" d="100"/>
          <a:sy n="165" d="100"/>
        </p:scale>
        <p:origin x="5272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75F862-666B-4B79-AEE0-0FC8CE6D06E3}" type="datetimeFigureOut">
              <a:rPr lang="en-GB" smtClean="0"/>
              <a:pPr/>
              <a:t>15/03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29D4D-CBC3-4174-80E6-461A727AD5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1876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48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742287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93419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3027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23607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2071458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3027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375868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4320000" cy="4484682"/>
          </a:xfrm>
        </p:spPr>
        <p:txBody>
          <a:bodyPr/>
          <a:lstStyle>
            <a:lvl1pPr marL="360000" indent="-360000">
              <a:spcBef>
                <a:spcPts val="0"/>
              </a:spcBef>
              <a:spcAft>
                <a:spcPts val="700"/>
              </a:spcAft>
              <a:buClr>
                <a:schemeClr val="bg2"/>
              </a:buClr>
              <a:buFont typeface="+mj-lt"/>
              <a:buAutoNum type="arabicPeriod"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01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Arial Bold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7329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4891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448468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55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6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50862" y="2492375"/>
            <a:ext cx="3420000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50862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688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591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50863" y="2492374"/>
            <a:ext cx="3419475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4621249" y="1440000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621213" y="2492374"/>
            <a:ext cx="3419475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51387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21213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6420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51387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8135938" cy="271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646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  <p:pic>
        <p:nvPicPr>
          <p:cNvPr id="5" name="Picture 4" descr="Bupa_Illustration_Artwork_Tree_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1945" y="1850813"/>
            <a:ext cx="7430587" cy="525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68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9800" y="2483202"/>
            <a:ext cx="5310175" cy="375490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7261" y="2954689"/>
            <a:ext cx="4815838" cy="3405354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pa_Illustration_Artwork_Umbrella_RGB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8109" y="2927066"/>
            <a:ext cx="4760225" cy="3365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7076" y="3014133"/>
            <a:ext cx="4664074" cy="329803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4759" y="2433211"/>
            <a:ext cx="5310174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8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9400" y="2585357"/>
            <a:ext cx="5310174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9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2623" y="2585357"/>
            <a:ext cx="5310174" cy="375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0883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0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7415" y="489600"/>
            <a:ext cx="4458154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18775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1285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882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1629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84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5177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3855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4854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5642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93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2861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070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8071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032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8173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356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9531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9848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6732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614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7105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08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5399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5691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7683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029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042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2861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5399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314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890209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355447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10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35" imgW="592" imgH="591" progId="TCLayout.ActiveDocument.1">
                  <p:embed/>
                </p:oleObj>
              </mc:Choice>
              <mc:Fallback>
                <p:oleObj name="think-cell Slide" r:id="rId3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0862" y="508974"/>
            <a:ext cx="813593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2" y="1439869"/>
            <a:ext cx="8135938" cy="44846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3475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7" r:id="rId2"/>
    <p:sldLayoutId id="2147483696" r:id="rId3"/>
    <p:sldLayoutId id="2147483698" r:id="rId4"/>
    <p:sldLayoutId id="2147483700" r:id="rId5"/>
    <p:sldLayoutId id="214748369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7" r:id="rId12"/>
    <p:sldLayoutId id="2147483706" r:id="rId13"/>
    <p:sldLayoutId id="2147483708" r:id="rId14"/>
    <p:sldLayoutId id="2147483679" r:id="rId15"/>
    <p:sldLayoutId id="2147483650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69" r:id="rId22"/>
    <p:sldLayoutId id="2147483670" r:id="rId23"/>
    <p:sldLayoutId id="2147483671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88" r:id="rId3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0"/>
        </a:spcAft>
        <a:buFont typeface="Arial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950"/>
        </a:spcAft>
        <a:buFont typeface="Arial" pitchFamily="34" charset="0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774000" indent="-342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+mj-lt"/>
        <a:buAutoNum type="alphaLcParenR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2838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22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3498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57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3797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Communication to SAMA – 15 March 20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AU"/>
              <a:t>Bupa Private and Confidential</a:t>
            </a:r>
            <a:endParaRPr lang="en-AU" dirty="0"/>
          </a:p>
        </p:txBody>
      </p:sp>
      <p:sp>
        <p:nvSpPr>
          <p:cNvPr id="8" name="TextBox 7"/>
          <p:cNvSpPr txBox="1"/>
          <p:nvPr/>
        </p:nvSpPr>
        <p:spPr>
          <a:xfrm>
            <a:off x="550864" y="1108085"/>
            <a:ext cx="8126412" cy="307777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Novel Corona Virus (COVID-19) - Saudi Develop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26866" y="2201020"/>
            <a:ext cx="70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BC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46764" y="3518028"/>
            <a:ext cx="7567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Peopl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8987" y="4691924"/>
            <a:ext cx="1533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ommunic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7174" y="5834204"/>
            <a:ext cx="8451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Claim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50864" y="1551648"/>
            <a:ext cx="8126411" cy="110011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50864" y="2806785"/>
            <a:ext cx="8126411" cy="11177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50864" y="4042682"/>
            <a:ext cx="8126411" cy="106738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50864" y="5230470"/>
            <a:ext cx="8126411" cy="9474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 151"/>
          <p:cNvSpPr>
            <a:spLocks noChangeArrowheads="1"/>
          </p:cNvSpPr>
          <p:nvPr/>
        </p:nvSpPr>
        <p:spPr bwMode="auto">
          <a:xfrm>
            <a:off x="812288" y="1850620"/>
            <a:ext cx="587470" cy="310845"/>
          </a:xfrm>
          <a:custGeom>
            <a:avLst/>
            <a:gdLst>
              <a:gd name="T0" fmla="*/ 124 w 497"/>
              <a:gd name="T1" fmla="*/ 221 h 293"/>
              <a:gd name="T2" fmla="*/ 124 w 497"/>
              <a:gd name="T3" fmla="*/ 221 h 293"/>
              <a:gd name="T4" fmla="*/ 124 w 497"/>
              <a:gd name="T5" fmla="*/ 97 h 293"/>
              <a:gd name="T6" fmla="*/ 177 w 497"/>
              <a:gd name="T7" fmla="*/ 97 h 293"/>
              <a:gd name="T8" fmla="*/ 88 w 497"/>
              <a:gd name="T9" fmla="*/ 0 h 293"/>
              <a:gd name="T10" fmla="*/ 0 w 497"/>
              <a:gd name="T11" fmla="*/ 97 h 293"/>
              <a:gd name="T12" fmla="*/ 53 w 497"/>
              <a:gd name="T13" fmla="*/ 97 h 293"/>
              <a:gd name="T14" fmla="*/ 53 w 497"/>
              <a:gd name="T15" fmla="*/ 248 h 293"/>
              <a:gd name="T16" fmla="*/ 97 w 497"/>
              <a:gd name="T17" fmla="*/ 292 h 293"/>
              <a:gd name="T18" fmla="*/ 319 w 497"/>
              <a:gd name="T19" fmla="*/ 292 h 293"/>
              <a:gd name="T20" fmla="*/ 256 w 497"/>
              <a:gd name="T21" fmla="*/ 221 h 293"/>
              <a:gd name="T22" fmla="*/ 124 w 497"/>
              <a:gd name="T23" fmla="*/ 221 h 293"/>
              <a:gd name="T24" fmla="*/ 443 w 497"/>
              <a:gd name="T25" fmla="*/ 195 h 293"/>
              <a:gd name="T26" fmla="*/ 443 w 497"/>
              <a:gd name="T27" fmla="*/ 195 h 293"/>
              <a:gd name="T28" fmla="*/ 443 w 497"/>
              <a:gd name="T29" fmla="*/ 44 h 293"/>
              <a:gd name="T30" fmla="*/ 399 w 497"/>
              <a:gd name="T31" fmla="*/ 0 h 293"/>
              <a:gd name="T32" fmla="*/ 177 w 497"/>
              <a:gd name="T33" fmla="*/ 0 h 293"/>
              <a:gd name="T34" fmla="*/ 239 w 497"/>
              <a:gd name="T35" fmla="*/ 61 h 293"/>
              <a:gd name="T36" fmla="*/ 372 w 497"/>
              <a:gd name="T37" fmla="*/ 61 h 293"/>
              <a:gd name="T38" fmla="*/ 372 w 497"/>
              <a:gd name="T39" fmla="*/ 195 h 293"/>
              <a:gd name="T40" fmla="*/ 319 w 497"/>
              <a:gd name="T41" fmla="*/ 195 h 293"/>
              <a:gd name="T42" fmla="*/ 407 w 497"/>
              <a:gd name="T43" fmla="*/ 292 h 293"/>
              <a:gd name="T44" fmla="*/ 496 w 497"/>
              <a:gd name="T45" fmla="*/ 195 h 293"/>
              <a:gd name="T46" fmla="*/ 443 w 497"/>
              <a:gd name="T47" fmla="*/ 195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97" h="293">
                <a:moveTo>
                  <a:pt x="124" y="221"/>
                </a:moveTo>
                <a:lnTo>
                  <a:pt x="124" y="221"/>
                </a:lnTo>
                <a:cubicBezTo>
                  <a:pt x="124" y="97"/>
                  <a:pt x="124" y="97"/>
                  <a:pt x="124" y="97"/>
                </a:cubicBezTo>
                <a:cubicBezTo>
                  <a:pt x="177" y="97"/>
                  <a:pt x="177" y="97"/>
                  <a:pt x="177" y="97"/>
                </a:cubicBezTo>
                <a:cubicBezTo>
                  <a:pt x="88" y="0"/>
                  <a:pt x="88" y="0"/>
                  <a:pt x="88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248"/>
                  <a:pt x="53" y="248"/>
                  <a:pt x="53" y="248"/>
                </a:cubicBezTo>
                <a:cubicBezTo>
                  <a:pt x="53" y="274"/>
                  <a:pt x="71" y="292"/>
                  <a:pt x="97" y="292"/>
                </a:cubicBezTo>
                <a:cubicBezTo>
                  <a:pt x="319" y="292"/>
                  <a:pt x="319" y="292"/>
                  <a:pt x="319" y="292"/>
                </a:cubicBezTo>
                <a:cubicBezTo>
                  <a:pt x="256" y="221"/>
                  <a:pt x="256" y="221"/>
                  <a:pt x="256" y="221"/>
                </a:cubicBezTo>
                <a:lnTo>
                  <a:pt x="124" y="221"/>
                </a:lnTo>
                <a:close/>
                <a:moveTo>
                  <a:pt x="443" y="195"/>
                </a:moveTo>
                <a:lnTo>
                  <a:pt x="443" y="195"/>
                </a:lnTo>
                <a:cubicBezTo>
                  <a:pt x="443" y="44"/>
                  <a:pt x="443" y="44"/>
                  <a:pt x="443" y="44"/>
                </a:cubicBezTo>
                <a:cubicBezTo>
                  <a:pt x="443" y="17"/>
                  <a:pt x="425" y="0"/>
                  <a:pt x="399" y="0"/>
                </a:cubicBezTo>
                <a:cubicBezTo>
                  <a:pt x="177" y="0"/>
                  <a:pt x="177" y="0"/>
                  <a:pt x="177" y="0"/>
                </a:cubicBezTo>
                <a:cubicBezTo>
                  <a:pt x="239" y="61"/>
                  <a:pt x="239" y="61"/>
                  <a:pt x="239" y="61"/>
                </a:cubicBezTo>
                <a:cubicBezTo>
                  <a:pt x="372" y="61"/>
                  <a:pt x="372" y="61"/>
                  <a:pt x="372" y="61"/>
                </a:cubicBezTo>
                <a:cubicBezTo>
                  <a:pt x="372" y="195"/>
                  <a:pt x="372" y="195"/>
                  <a:pt x="372" y="195"/>
                </a:cubicBezTo>
                <a:cubicBezTo>
                  <a:pt x="319" y="195"/>
                  <a:pt x="319" y="195"/>
                  <a:pt x="319" y="195"/>
                </a:cubicBezTo>
                <a:cubicBezTo>
                  <a:pt x="407" y="292"/>
                  <a:pt x="407" y="292"/>
                  <a:pt x="407" y="292"/>
                </a:cubicBezTo>
                <a:cubicBezTo>
                  <a:pt x="496" y="195"/>
                  <a:pt x="496" y="195"/>
                  <a:pt x="496" y="195"/>
                </a:cubicBezTo>
                <a:lnTo>
                  <a:pt x="443" y="19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18" name="Freeform 51"/>
          <p:cNvSpPr>
            <a:spLocks noEditPoints="1"/>
          </p:cNvSpPr>
          <p:nvPr/>
        </p:nvSpPr>
        <p:spPr bwMode="auto">
          <a:xfrm>
            <a:off x="782638" y="3020942"/>
            <a:ext cx="347128" cy="425709"/>
          </a:xfrm>
          <a:custGeom>
            <a:avLst/>
            <a:gdLst>
              <a:gd name="T0" fmla="*/ 2147483646 w 41"/>
              <a:gd name="T1" fmla="*/ 2147483646 h 58"/>
              <a:gd name="T2" fmla="*/ 2147483646 w 41"/>
              <a:gd name="T3" fmla="*/ 2147483646 h 58"/>
              <a:gd name="T4" fmla="*/ 2147483646 w 41"/>
              <a:gd name="T5" fmla="*/ 2147483646 h 58"/>
              <a:gd name="T6" fmla="*/ 2147483646 w 41"/>
              <a:gd name="T7" fmla="*/ 2147483646 h 58"/>
              <a:gd name="T8" fmla="*/ 2147483646 w 41"/>
              <a:gd name="T9" fmla="*/ 2147483646 h 58"/>
              <a:gd name="T10" fmla="*/ 2147483646 w 41"/>
              <a:gd name="T11" fmla="*/ 2147483646 h 58"/>
              <a:gd name="T12" fmla="*/ 2147483646 w 41"/>
              <a:gd name="T13" fmla="*/ 2147483646 h 58"/>
              <a:gd name="T14" fmla="*/ 2147483646 w 41"/>
              <a:gd name="T15" fmla="*/ 2147483646 h 58"/>
              <a:gd name="T16" fmla="*/ 2147483646 w 41"/>
              <a:gd name="T17" fmla="*/ 2147483646 h 58"/>
              <a:gd name="T18" fmla="*/ 2147483646 w 41"/>
              <a:gd name="T19" fmla="*/ 2147483646 h 58"/>
              <a:gd name="T20" fmla="*/ 2147483646 w 41"/>
              <a:gd name="T21" fmla="*/ 2147483646 h 58"/>
              <a:gd name="T22" fmla="*/ 2147483646 w 41"/>
              <a:gd name="T23" fmla="*/ 2147483646 h 58"/>
              <a:gd name="T24" fmla="*/ 2147483646 w 41"/>
              <a:gd name="T25" fmla="*/ 2147483646 h 58"/>
              <a:gd name="T26" fmla="*/ 2147483646 w 41"/>
              <a:gd name="T27" fmla="*/ 2147483646 h 58"/>
              <a:gd name="T28" fmla="*/ 2147483646 w 41"/>
              <a:gd name="T29" fmla="*/ 2147483646 h 58"/>
              <a:gd name="T30" fmla="*/ 2147483646 w 41"/>
              <a:gd name="T31" fmla="*/ 2147483646 h 58"/>
              <a:gd name="T32" fmla="*/ 2147483646 w 41"/>
              <a:gd name="T33" fmla="*/ 2147483646 h 58"/>
              <a:gd name="T34" fmla="*/ 2147483646 w 41"/>
              <a:gd name="T35" fmla="*/ 2147483646 h 58"/>
              <a:gd name="T36" fmla="*/ 2147483646 w 41"/>
              <a:gd name="T37" fmla="*/ 2147483646 h 58"/>
              <a:gd name="T38" fmla="*/ 2147483646 w 41"/>
              <a:gd name="T39" fmla="*/ 2147483646 h 58"/>
              <a:gd name="T40" fmla="*/ 2147483646 w 41"/>
              <a:gd name="T41" fmla="*/ 2147483646 h 58"/>
              <a:gd name="T42" fmla="*/ 2147483646 w 41"/>
              <a:gd name="T43" fmla="*/ 0 h 58"/>
              <a:gd name="T44" fmla="*/ 2147483646 w 41"/>
              <a:gd name="T45" fmla="*/ 2147483646 h 58"/>
              <a:gd name="T46" fmla="*/ 2147483646 w 41"/>
              <a:gd name="T47" fmla="*/ 2147483646 h 5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1" h="58">
                <a:moveTo>
                  <a:pt x="30" y="24"/>
                </a:moveTo>
                <a:cubicBezTo>
                  <a:pt x="30" y="54"/>
                  <a:pt x="30" y="54"/>
                  <a:pt x="30" y="54"/>
                </a:cubicBezTo>
                <a:cubicBezTo>
                  <a:pt x="30" y="56"/>
                  <a:pt x="28" y="58"/>
                  <a:pt x="26" y="58"/>
                </a:cubicBezTo>
                <a:cubicBezTo>
                  <a:pt x="24" y="58"/>
                  <a:pt x="22" y="56"/>
                  <a:pt x="22" y="54"/>
                </a:cubicBezTo>
                <a:cubicBezTo>
                  <a:pt x="22" y="40"/>
                  <a:pt x="22" y="40"/>
                  <a:pt x="22" y="40"/>
                </a:cubicBezTo>
                <a:cubicBezTo>
                  <a:pt x="19" y="40"/>
                  <a:pt x="19" y="40"/>
                  <a:pt x="19" y="40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6"/>
                  <a:pt x="18" y="58"/>
                  <a:pt x="15" y="58"/>
                </a:cubicBezTo>
                <a:cubicBezTo>
                  <a:pt x="13" y="58"/>
                  <a:pt x="11" y="56"/>
                  <a:pt x="11" y="54"/>
                </a:cubicBezTo>
                <a:cubicBezTo>
                  <a:pt x="11" y="24"/>
                  <a:pt x="11" y="24"/>
                  <a:pt x="11" y="24"/>
                </a:cubicBezTo>
                <a:cubicBezTo>
                  <a:pt x="1" y="14"/>
                  <a:pt x="1" y="14"/>
                  <a:pt x="1" y="14"/>
                </a:cubicBezTo>
                <a:cubicBezTo>
                  <a:pt x="0" y="13"/>
                  <a:pt x="0" y="10"/>
                  <a:pt x="1" y="9"/>
                </a:cubicBezTo>
                <a:cubicBezTo>
                  <a:pt x="2" y="8"/>
                  <a:pt x="5" y="8"/>
                  <a:pt x="6" y="9"/>
                </a:cubicBezTo>
                <a:cubicBezTo>
                  <a:pt x="14" y="17"/>
                  <a:pt x="14" y="17"/>
                  <a:pt x="14" y="17"/>
                </a:cubicBezTo>
                <a:cubicBezTo>
                  <a:pt x="27" y="17"/>
                  <a:pt x="27" y="17"/>
                  <a:pt x="27" y="17"/>
                </a:cubicBezTo>
                <a:cubicBezTo>
                  <a:pt x="35" y="9"/>
                  <a:pt x="35" y="9"/>
                  <a:pt x="35" y="9"/>
                </a:cubicBezTo>
                <a:cubicBezTo>
                  <a:pt x="37" y="8"/>
                  <a:pt x="39" y="8"/>
                  <a:pt x="40" y="9"/>
                </a:cubicBezTo>
                <a:cubicBezTo>
                  <a:pt x="41" y="10"/>
                  <a:pt x="41" y="13"/>
                  <a:pt x="40" y="14"/>
                </a:cubicBezTo>
                <a:lnTo>
                  <a:pt x="30" y="24"/>
                </a:lnTo>
                <a:close/>
                <a:moveTo>
                  <a:pt x="21" y="16"/>
                </a:moveTo>
                <a:cubicBezTo>
                  <a:pt x="16" y="16"/>
                  <a:pt x="13" y="12"/>
                  <a:pt x="13" y="8"/>
                </a:cubicBezTo>
                <a:cubicBezTo>
                  <a:pt x="13" y="4"/>
                  <a:pt x="16" y="0"/>
                  <a:pt x="21" y="0"/>
                </a:cubicBezTo>
                <a:cubicBezTo>
                  <a:pt x="25" y="0"/>
                  <a:pt x="29" y="4"/>
                  <a:pt x="29" y="8"/>
                </a:cubicBezTo>
                <a:cubicBezTo>
                  <a:pt x="29" y="12"/>
                  <a:pt x="25" y="16"/>
                  <a:pt x="21" y="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Freeform 85"/>
          <p:cNvSpPr>
            <a:spLocks noEditPoints="1"/>
          </p:cNvSpPr>
          <p:nvPr/>
        </p:nvSpPr>
        <p:spPr bwMode="auto">
          <a:xfrm>
            <a:off x="1106139" y="3000873"/>
            <a:ext cx="359664" cy="453562"/>
          </a:xfrm>
          <a:custGeom>
            <a:avLst/>
            <a:gdLst>
              <a:gd name="T0" fmla="*/ 2147483646 w 45"/>
              <a:gd name="T1" fmla="*/ 2147483646 h 63"/>
              <a:gd name="T2" fmla="*/ 2147483646 w 45"/>
              <a:gd name="T3" fmla="*/ 2147483646 h 63"/>
              <a:gd name="T4" fmla="*/ 2147483646 w 45"/>
              <a:gd name="T5" fmla="*/ 2147483646 h 63"/>
              <a:gd name="T6" fmla="*/ 2147483646 w 45"/>
              <a:gd name="T7" fmla="*/ 2147483646 h 63"/>
              <a:gd name="T8" fmla="*/ 2147483646 w 45"/>
              <a:gd name="T9" fmla="*/ 2147483646 h 63"/>
              <a:gd name="T10" fmla="*/ 2147483646 w 45"/>
              <a:gd name="T11" fmla="*/ 2147483646 h 63"/>
              <a:gd name="T12" fmla="*/ 2147483646 w 45"/>
              <a:gd name="T13" fmla="*/ 2147483646 h 63"/>
              <a:gd name="T14" fmla="*/ 2147483646 w 45"/>
              <a:gd name="T15" fmla="*/ 2147483646 h 63"/>
              <a:gd name="T16" fmla="*/ 2147483646 w 45"/>
              <a:gd name="T17" fmla="*/ 2147483646 h 63"/>
              <a:gd name="T18" fmla="*/ 2147483646 w 45"/>
              <a:gd name="T19" fmla="*/ 2147483646 h 63"/>
              <a:gd name="T20" fmla="*/ 2147483646 w 45"/>
              <a:gd name="T21" fmla="*/ 2147483646 h 63"/>
              <a:gd name="T22" fmla="*/ 2147483646 w 45"/>
              <a:gd name="T23" fmla="*/ 2147483646 h 63"/>
              <a:gd name="T24" fmla="*/ 2147483646 w 45"/>
              <a:gd name="T25" fmla="*/ 2147483646 h 63"/>
              <a:gd name="T26" fmla="*/ 2147483646 w 45"/>
              <a:gd name="T27" fmla="*/ 2147483646 h 63"/>
              <a:gd name="T28" fmla="*/ 2147483646 w 45"/>
              <a:gd name="T29" fmla="*/ 2147483646 h 63"/>
              <a:gd name="T30" fmla="*/ 2147483646 w 45"/>
              <a:gd name="T31" fmla="*/ 2147483646 h 63"/>
              <a:gd name="T32" fmla="*/ 2147483646 w 45"/>
              <a:gd name="T33" fmla="*/ 2147483646 h 63"/>
              <a:gd name="T34" fmla="*/ 2147483646 w 45"/>
              <a:gd name="T35" fmla="*/ 2147483646 h 63"/>
              <a:gd name="T36" fmla="*/ 2147483646 w 45"/>
              <a:gd name="T37" fmla="*/ 2147483646 h 63"/>
              <a:gd name="T38" fmla="*/ 2147483646 w 45"/>
              <a:gd name="T39" fmla="*/ 2147483646 h 63"/>
              <a:gd name="T40" fmla="*/ 2147483646 w 45"/>
              <a:gd name="T41" fmla="*/ 2147483646 h 63"/>
              <a:gd name="T42" fmla="*/ 2147483646 w 45"/>
              <a:gd name="T43" fmla="*/ 2147483646 h 63"/>
              <a:gd name="T44" fmla="*/ 0 w 45"/>
              <a:gd name="T45" fmla="*/ 2147483646 h 63"/>
              <a:gd name="T46" fmla="*/ 0 w 45"/>
              <a:gd name="T47" fmla="*/ 2147483646 h 63"/>
              <a:gd name="T48" fmla="*/ 2147483646 w 45"/>
              <a:gd name="T49" fmla="*/ 2147483646 h 63"/>
              <a:gd name="T50" fmla="*/ 2147483646 w 45"/>
              <a:gd name="T51" fmla="*/ 2147483646 h 63"/>
              <a:gd name="T52" fmla="*/ 2147483646 w 45"/>
              <a:gd name="T53" fmla="*/ 2147483646 h 63"/>
              <a:gd name="T54" fmla="*/ 2147483646 w 45"/>
              <a:gd name="T55" fmla="*/ 2147483646 h 63"/>
              <a:gd name="T56" fmla="*/ 2147483646 w 45"/>
              <a:gd name="T57" fmla="*/ 2147483646 h 63"/>
              <a:gd name="T58" fmla="*/ 2147483646 w 45"/>
              <a:gd name="T59" fmla="*/ 2147483646 h 63"/>
              <a:gd name="T60" fmla="*/ 2147483646 w 45"/>
              <a:gd name="T61" fmla="*/ 2147483646 h 63"/>
              <a:gd name="T62" fmla="*/ 2147483646 w 45"/>
              <a:gd name="T63" fmla="*/ 2147483646 h 63"/>
              <a:gd name="T64" fmla="*/ 2147483646 w 45"/>
              <a:gd name="T65" fmla="*/ 2147483646 h 63"/>
              <a:gd name="T66" fmla="*/ 2147483646 w 45"/>
              <a:gd name="T67" fmla="*/ 0 h 63"/>
              <a:gd name="T68" fmla="*/ 2147483646 w 45"/>
              <a:gd name="T69" fmla="*/ 2147483646 h 63"/>
              <a:gd name="T70" fmla="*/ 2147483646 w 45"/>
              <a:gd name="T71" fmla="*/ 2147483646 h 6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45" h="63">
                <a:moveTo>
                  <a:pt x="42" y="40"/>
                </a:moveTo>
                <a:cubicBezTo>
                  <a:pt x="41" y="40"/>
                  <a:pt x="40" y="39"/>
                  <a:pt x="39" y="38"/>
                </a:cubicBezTo>
                <a:cubicBezTo>
                  <a:pt x="31" y="26"/>
                  <a:pt x="31" y="26"/>
                  <a:pt x="31" y="26"/>
                </a:cubicBezTo>
                <a:cubicBezTo>
                  <a:pt x="29" y="26"/>
                  <a:pt x="29" y="26"/>
                  <a:pt x="29" y="26"/>
                </a:cubicBezTo>
                <a:cubicBezTo>
                  <a:pt x="29" y="31"/>
                  <a:pt x="29" y="31"/>
                  <a:pt x="29" y="31"/>
                </a:cubicBezTo>
                <a:cubicBezTo>
                  <a:pt x="38" y="45"/>
                  <a:pt x="38" y="45"/>
                  <a:pt x="38" y="45"/>
                </a:cubicBezTo>
                <a:cubicBezTo>
                  <a:pt x="38" y="46"/>
                  <a:pt x="39" y="46"/>
                  <a:pt x="39" y="47"/>
                </a:cubicBezTo>
                <a:cubicBezTo>
                  <a:pt x="39" y="48"/>
                  <a:pt x="38" y="49"/>
                  <a:pt x="36" y="49"/>
                </a:cubicBezTo>
                <a:cubicBezTo>
                  <a:pt x="29" y="49"/>
                  <a:pt x="29" y="49"/>
                  <a:pt x="29" y="49"/>
                </a:cubicBezTo>
                <a:cubicBezTo>
                  <a:pt x="29" y="59"/>
                  <a:pt x="29" y="59"/>
                  <a:pt x="29" y="59"/>
                </a:cubicBezTo>
                <a:cubicBezTo>
                  <a:pt x="29" y="61"/>
                  <a:pt x="28" y="63"/>
                  <a:pt x="25" y="63"/>
                </a:cubicBezTo>
                <a:cubicBezTo>
                  <a:pt x="20" y="63"/>
                  <a:pt x="20" y="63"/>
                  <a:pt x="20" y="63"/>
                </a:cubicBezTo>
                <a:cubicBezTo>
                  <a:pt x="18" y="63"/>
                  <a:pt x="16" y="61"/>
                  <a:pt x="16" y="59"/>
                </a:cubicBezTo>
                <a:cubicBezTo>
                  <a:pt x="16" y="49"/>
                  <a:pt x="16" y="49"/>
                  <a:pt x="16" y="49"/>
                </a:cubicBezTo>
                <a:cubicBezTo>
                  <a:pt x="9" y="49"/>
                  <a:pt x="9" y="49"/>
                  <a:pt x="9" y="49"/>
                </a:cubicBezTo>
                <a:cubicBezTo>
                  <a:pt x="8" y="49"/>
                  <a:pt x="7" y="48"/>
                  <a:pt x="7" y="47"/>
                </a:cubicBezTo>
                <a:cubicBezTo>
                  <a:pt x="7" y="46"/>
                  <a:pt x="7" y="46"/>
                  <a:pt x="7" y="45"/>
                </a:cubicBezTo>
                <a:cubicBezTo>
                  <a:pt x="16" y="31"/>
                  <a:pt x="16" y="31"/>
                  <a:pt x="16" y="31"/>
                </a:cubicBezTo>
                <a:cubicBezTo>
                  <a:pt x="16" y="26"/>
                  <a:pt x="16" y="26"/>
                  <a:pt x="16" y="26"/>
                </a:cubicBezTo>
                <a:cubicBezTo>
                  <a:pt x="14" y="26"/>
                  <a:pt x="14" y="26"/>
                  <a:pt x="14" y="26"/>
                </a:cubicBezTo>
                <a:cubicBezTo>
                  <a:pt x="6" y="38"/>
                  <a:pt x="6" y="38"/>
                  <a:pt x="6" y="38"/>
                </a:cubicBezTo>
                <a:cubicBezTo>
                  <a:pt x="5" y="39"/>
                  <a:pt x="4" y="40"/>
                  <a:pt x="3" y="40"/>
                </a:cubicBezTo>
                <a:cubicBezTo>
                  <a:pt x="1" y="40"/>
                  <a:pt x="0" y="38"/>
                  <a:pt x="0" y="36"/>
                </a:cubicBezTo>
                <a:cubicBezTo>
                  <a:pt x="0" y="36"/>
                  <a:pt x="0" y="35"/>
                  <a:pt x="0" y="34"/>
                </a:cubicBezTo>
                <a:cubicBezTo>
                  <a:pt x="9" y="21"/>
                  <a:pt x="9" y="21"/>
                  <a:pt x="9" y="21"/>
                </a:cubicBezTo>
                <a:cubicBezTo>
                  <a:pt x="11" y="19"/>
                  <a:pt x="13" y="17"/>
                  <a:pt x="16" y="17"/>
                </a:cubicBezTo>
                <a:cubicBezTo>
                  <a:pt x="29" y="17"/>
                  <a:pt x="29" y="17"/>
                  <a:pt x="29" y="17"/>
                </a:cubicBezTo>
                <a:cubicBezTo>
                  <a:pt x="32" y="17"/>
                  <a:pt x="34" y="19"/>
                  <a:pt x="36" y="21"/>
                </a:cubicBezTo>
                <a:cubicBezTo>
                  <a:pt x="45" y="34"/>
                  <a:pt x="45" y="34"/>
                  <a:pt x="45" y="34"/>
                </a:cubicBezTo>
                <a:cubicBezTo>
                  <a:pt x="45" y="35"/>
                  <a:pt x="45" y="36"/>
                  <a:pt x="45" y="36"/>
                </a:cubicBezTo>
                <a:cubicBezTo>
                  <a:pt x="45" y="38"/>
                  <a:pt x="44" y="40"/>
                  <a:pt x="42" y="40"/>
                </a:cubicBezTo>
                <a:close/>
                <a:moveTo>
                  <a:pt x="23" y="16"/>
                </a:moveTo>
                <a:cubicBezTo>
                  <a:pt x="18" y="16"/>
                  <a:pt x="15" y="12"/>
                  <a:pt x="15" y="8"/>
                </a:cubicBezTo>
                <a:cubicBezTo>
                  <a:pt x="15" y="3"/>
                  <a:pt x="18" y="0"/>
                  <a:pt x="23" y="0"/>
                </a:cubicBezTo>
                <a:cubicBezTo>
                  <a:pt x="27" y="0"/>
                  <a:pt x="31" y="3"/>
                  <a:pt x="31" y="8"/>
                </a:cubicBezTo>
                <a:cubicBezTo>
                  <a:pt x="31" y="12"/>
                  <a:pt x="27" y="16"/>
                  <a:pt x="23" y="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1627633" y="2871091"/>
            <a:ext cx="651052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000" dirty="0"/>
              <a:t>xxx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sp>
        <p:nvSpPr>
          <p:cNvPr id="21" name="TextBox 20"/>
          <p:cNvSpPr txBox="1"/>
          <p:nvPr/>
        </p:nvSpPr>
        <p:spPr>
          <a:xfrm>
            <a:off x="2084833" y="1625272"/>
            <a:ext cx="6510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000"/>
            </a:lvl1pPr>
            <a:lvl2pPr marL="742950" lvl="1" indent="-285750">
              <a:buFont typeface="Arial" panose="020B0604020202020204" pitchFamily="34" charset="0"/>
              <a:buChar char="•"/>
              <a:defRPr sz="1000"/>
            </a:lvl2pPr>
          </a:lstStyle>
          <a:p>
            <a:r>
              <a:rPr lang="en-US" dirty="0"/>
              <a:t>xxx</a:t>
            </a:r>
          </a:p>
          <a:p>
            <a:endParaRPr lang="en-US" dirty="0"/>
          </a:p>
        </p:txBody>
      </p:sp>
      <p:sp>
        <p:nvSpPr>
          <p:cNvPr id="22" name="Freeform 22"/>
          <p:cNvSpPr>
            <a:spLocks noEditPoints="1"/>
          </p:cNvSpPr>
          <p:nvPr/>
        </p:nvSpPr>
        <p:spPr bwMode="auto">
          <a:xfrm>
            <a:off x="953905" y="4326799"/>
            <a:ext cx="494723" cy="365125"/>
          </a:xfrm>
          <a:custGeom>
            <a:avLst/>
            <a:gdLst>
              <a:gd name="T0" fmla="*/ 2147483646 w 68"/>
              <a:gd name="T1" fmla="*/ 2147483646 h 59"/>
              <a:gd name="T2" fmla="*/ 2147483646 w 68"/>
              <a:gd name="T3" fmla="*/ 2147483646 h 59"/>
              <a:gd name="T4" fmla="*/ 2147483646 w 68"/>
              <a:gd name="T5" fmla="*/ 2147483646 h 59"/>
              <a:gd name="T6" fmla="*/ 2147483646 w 68"/>
              <a:gd name="T7" fmla="*/ 2147483646 h 59"/>
              <a:gd name="T8" fmla="*/ 2147483646 w 68"/>
              <a:gd name="T9" fmla="*/ 2147483646 h 59"/>
              <a:gd name="T10" fmla="*/ 2147483646 w 68"/>
              <a:gd name="T11" fmla="*/ 2147483646 h 59"/>
              <a:gd name="T12" fmla="*/ 2147483646 w 68"/>
              <a:gd name="T13" fmla="*/ 2147483646 h 59"/>
              <a:gd name="T14" fmla="*/ 2147483646 w 68"/>
              <a:gd name="T15" fmla="*/ 2147483646 h 59"/>
              <a:gd name="T16" fmla="*/ 2147483646 w 68"/>
              <a:gd name="T17" fmla="*/ 2147483646 h 59"/>
              <a:gd name="T18" fmla="*/ 2147483646 w 68"/>
              <a:gd name="T19" fmla="*/ 2147483646 h 59"/>
              <a:gd name="T20" fmla="*/ 0 w 68"/>
              <a:gd name="T21" fmla="*/ 2147483646 h 59"/>
              <a:gd name="T22" fmla="*/ 0 w 68"/>
              <a:gd name="T23" fmla="*/ 2147483646 h 59"/>
              <a:gd name="T24" fmla="*/ 2147483646 w 68"/>
              <a:gd name="T25" fmla="*/ 2147483646 h 59"/>
              <a:gd name="T26" fmla="*/ 2147483646 w 68"/>
              <a:gd name="T27" fmla="*/ 2147483646 h 59"/>
              <a:gd name="T28" fmla="*/ 2147483646 w 68"/>
              <a:gd name="T29" fmla="*/ 0 h 59"/>
              <a:gd name="T30" fmla="*/ 2147483646 w 68"/>
              <a:gd name="T31" fmla="*/ 2147483646 h 59"/>
              <a:gd name="T32" fmla="*/ 2147483646 w 68"/>
              <a:gd name="T33" fmla="*/ 2147483646 h 59"/>
              <a:gd name="T34" fmla="*/ 2147483646 w 68"/>
              <a:gd name="T35" fmla="*/ 2147483646 h 59"/>
              <a:gd name="T36" fmla="*/ 2147483646 w 68"/>
              <a:gd name="T37" fmla="*/ 2147483646 h 59"/>
              <a:gd name="T38" fmla="*/ 2147483646 w 68"/>
              <a:gd name="T39" fmla="*/ 2147483646 h 59"/>
              <a:gd name="T40" fmla="*/ 2147483646 w 68"/>
              <a:gd name="T41" fmla="*/ 2147483646 h 59"/>
              <a:gd name="T42" fmla="*/ 2147483646 w 68"/>
              <a:gd name="T43" fmla="*/ 2147483646 h 59"/>
              <a:gd name="T44" fmla="*/ 2147483646 w 68"/>
              <a:gd name="T45" fmla="*/ 2147483646 h 59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8" h="59">
                <a:moveTo>
                  <a:pt x="68" y="24"/>
                </a:moveTo>
                <a:cubicBezTo>
                  <a:pt x="68" y="27"/>
                  <a:pt x="66" y="29"/>
                  <a:pt x="64" y="29"/>
                </a:cubicBezTo>
                <a:cubicBezTo>
                  <a:pt x="64" y="43"/>
                  <a:pt x="64" y="43"/>
                  <a:pt x="64" y="43"/>
                </a:cubicBezTo>
                <a:cubicBezTo>
                  <a:pt x="64" y="46"/>
                  <a:pt x="61" y="48"/>
                  <a:pt x="59" y="48"/>
                </a:cubicBezTo>
                <a:cubicBezTo>
                  <a:pt x="52" y="43"/>
                  <a:pt x="41" y="35"/>
                  <a:pt x="28" y="34"/>
                </a:cubicBezTo>
                <a:cubicBezTo>
                  <a:pt x="23" y="35"/>
                  <a:pt x="22" y="41"/>
                  <a:pt x="25" y="44"/>
                </a:cubicBezTo>
                <a:cubicBezTo>
                  <a:pt x="22" y="48"/>
                  <a:pt x="26" y="51"/>
                  <a:pt x="30" y="54"/>
                </a:cubicBezTo>
                <a:cubicBezTo>
                  <a:pt x="27" y="59"/>
                  <a:pt x="17" y="59"/>
                  <a:pt x="14" y="56"/>
                </a:cubicBezTo>
                <a:cubicBezTo>
                  <a:pt x="12" y="49"/>
                  <a:pt x="8" y="42"/>
                  <a:pt x="11" y="34"/>
                </a:cubicBezTo>
                <a:cubicBezTo>
                  <a:pt x="7" y="34"/>
                  <a:pt x="7" y="34"/>
                  <a:pt x="7" y="34"/>
                </a:cubicBezTo>
                <a:cubicBezTo>
                  <a:pt x="3" y="34"/>
                  <a:pt x="0" y="31"/>
                  <a:pt x="0" y="27"/>
                </a:cubicBezTo>
                <a:cubicBezTo>
                  <a:pt x="0" y="20"/>
                  <a:pt x="0" y="20"/>
                  <a:pt x="0" y="20"/>
                </a:cubicBezTo>
                <a:cubicBezTo>
                  <a:pt x="0" y="17"/>
                  <a:pt x="3" y="14"/>
                  <a:pt x="7" y="14"/>
                </a:cubicBezTo>
                <a:cubicBezTo>
                  <a:pt x="25" y="14"/>
                  <a:pt x="25" y="14"/>
                  <a:pt x="25" y="14"/>
                </a:cubicBezTo>
                <a:cubicBezTo>
                  <a:pt x="39" y="14"/>
                  <a:pt x="51" y="6"/>
                  <a:pt x="59" y="0"/>
                </a:cubicBezTo>
                <a:cubicBezTo>
                  <a:pt x="61" y="0"/>
                  <a:pt x="64" y="2"/>
                  <a:pt x="64" y="4"/>
                </a:cubicBezTo>
                <a:cubicBezTo>
                  <a:pt x="64" y="19"/>
                  <a:pt x="64" y="19"/>
                  <a:pt x="64" y="19"/>
                </a:cubicBezTo>
                <a:cubicBezTo>
                  <a:pt x="66" y="19"/>
                  <a:pt x="68" y="21"/>
                  <a:pt x="68" y="24"/>
                </a:cubicBezTo>
                <a:close/>
                <a:moveTo>
                  <a:pt x="59" y="6"/>
                </a:moveTo>
                <a:cubicBezTo>
                  <a:pt x="49" y="13"/>
                  <a:pt x="39" y="18"/>
                  <a:pt x="30" y="19"/>
                </a:cubicBezTo>
                <a:cubicBezTo>
                  <a:pt x="30" y="29"/>
                  <a:pt x="30" y="29"/>
                  <a:pt x="30" y="29"/>
                </a:cubicBezTo>
                <a:cubicBezTo>
                  <a:pt x="39" y="30"/>
                  <a:pt x="49" y="34"/>
                  <a:pt x="59" y="42"/>
                </a:cubicBezTo>
                <a:lnTo>
                  <a:pt x="59" y="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2084833" y="4086408"/>
            <a:ext cx="6510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000"/>
            </a:lvl1pPr>
            <a:lvl2pPr marL="742950" lvl="1" indent="-285750">
              <a:buFont typeface="Arial" panose="020B0604020202020204" pitchFamily="34" charset="0"/>
              <a:buChar char="•"/>
              <a:defRPr sz="1000"/>
            </a:lvl2pPr>
          </a:lstStyle>
          <a:p>
            <a:r>
              <a:rPr lang="en-US" dirty="0"/>
              <a:t>xxx</a:t>
            </a:r>
          </a:p>
          <a:p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2084833" y="5281462"/>
            <a:ext cx="6510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sz="1000"/>
            </a:lvl1pPr>
            <a:lvl2pPr marL="742950" lvl="1" indent="-285750">
              <a:buFont typeface="Arial" panose="020B0604020202020204" pitchFamily="34" charset="0"/>
              <a:buChar char="•"/>
              <a:defRPr sz="1000"/>
            </a:lvl2pPr>
          </a:lstStyle>
          <a:p>
            <a:r>
              <a:rPr lang="en-US" dirty="0"/>
              <a:t>xxx</a:t>
            </a:r>
          </a:p>
          <a:p>
            <a:endParaRPr lang="en-US" dirty="0"/>
          </a:p>
        </p:txBody>
      </p:sp>
      <p:sp>
        <p:nvSpPr>
          <p:cNvPr id="25" name="Freeform 67"/>
          <p:cNvSpPr>
            <a:spLocks noEditPoints="1"/>
          </p:cNvSpPr>
          <p:nvPr/>
        </p:nvSpPr>
        <p:spPr bwMode="auto">
          <a:xfrm>
            <a:off x="864993" y="5367915"/>
            <a:ext cx="482061" cy="406088"/>
          </a:xfrm>
          <a:custGeom>
            <a:avLst/>
            <a:gdLst>
              <a:gd name="T0" fmla="*/ 2147483646 w 72"/>
              <a:gd name="T1" fmla="*/ 2147483646 h 72"/>
              <a:gd name="T2" fmla="*/ 2147483646 w 72"/>
              <a:gd name="T3" fmla="*/ 2147483646 h 72"/>
              <a:gd name="T4" fmla="*/ 2147483646 w 72"/>
              <a:gd name="T5" fmla="*/ 2147483646 h 72"/>
              <a:gd name="T6" fmla="*/ 2147483646 w 72"/>
              <a:gd name="T7" fmla="*/ 2147483646 h 72"/>
              <a:gd name="T8" fmla="*/ 2147483646 w 72"/>
              <a:gd name="T9" fmla="*/ 2147483646 h 72"/>
              <a:gd name="T10" fmla="*/ 2147483646 w 72"/>
              <a:gd name="T11" fmla="*/ 2147483646 h 72"/>
              <a:gd name="T12" fmla="*/ 2147483646 w 72"/>
              <a:gd name="T13" fmla="*/ 2147483646 h 72"/>
              <a:gd name="T14" fmla="*/ 0 w 72"/>
              <a:gd name="T15" fmla="*/ 2147483646 h 72"/>
              <a:gd name="T16" fmla="*/ 0 w 72"/>
              <a:gd name="T17" fmla="*/ 2147483646 h 72"/>
              <a:gd name="T18" fmla="*/ 2147483646 w 72"/>
              <a:gd name="T19" fmla="*/ 2147483646 h 72"/>
              <a:gd name="T20" fmla="*/ 2147483646 w 72"/>
              <a:gd name="T21" fmla="*/ 2147483646 h 72"/>
              <a:gd name="T22" fmla="*/ 2147483646 w 72"/>
              <a:gd name="T23" fmla="*/ 0 h 72"/>
              <a:gd name="T24" fmla="*/ 2147483646 w 72"/>
              <a:gd name="T25" fmla="*/ 0 h 72"/>
              <a:gd name="T26" fmla="*/ 2147483646 w 72"/>
              <a:gd name="T27" fmla="*/ 2147483646 h 72"/>
              <a:gd name="T28" fmla="*/ 2147483646 w 72"/>
              <a:gd name="T29" fmla="*/ 2147483646 h 72"/>
              <a:gd name="T30" fmla="*/ 2147483646 w 72"/>
              <a:gd name="T31" fmla="*/ 2147483646 h 72"/>
              <a:gd name="T32" fmla="*/ 2147483646 w 72"/>
              <a:gd name="T33" fmla="*/ 2147483646 h 72"/>
              <a:gd name="T34" fmla="*/ 2147483646 w 72"/>
              <a:gd name="T35" fmla="*/ 2147483646 h 72"/>
              <a:gd name="T36" fmla="*/ 2147483646 w 72"/>
              <a:gd name="T37" fmla="*/ 2147483646 h 72"/>
              <a:gd name="T38" fmla="*/ 2147483646 w 72"/>
              <a:gd name="T39" fmla="*/ 2147483646 h 72"/>
              <a:gd name="T40" fmla="*/ 2147483646 w 72"/>
              <a:gd name="T41" fmla="*/ 2147483646 h 72"/>
              <a:gd name="T42" fmla="*/ 2147483646 w 72"/>
              <a:gd name="T43" fmla="*/ 2147483646 h 72"/>
              <a:gd name="T44" fmla="*/ 2147483646 w 72"/>
              <a:gd name="T45" fmla="*/ 2147483646 h 72"/>
              <a:gd name="T46" fmla="*/ 2147483646 w 72"/>
              <a:gd name="T47" fmla="*/ 2147483646 h 72"/>
              <a:gd name="T48" fmla="*/ 2147483646 w 72"/>
              <a:gd name="T49" fmla="*/ 2147483646 h 72"/>
              <a:gd name="T50" fmla="*/ 2147483646 w 72"/>
              <a:gd name="T51" fmla="*/ 2147483646 h 72"/>
              <a:gd name="T52" fmla="*/ 2147483646 w 72"/>
              <a:gd name="T53" fmla="*/ 2147483646 h 72"/>
              <a:gd name="T54" fmla="*/ 2147483646 w 72"/>
              <a:gd name="T55" fmla="*/ 2147483646 h 72"/>
              <a:gd name="T56" fmla="*/ 2147483646 w 72"/>
              <a:gd name="T57" fmla="*/ 2147483646 h 72"/>
              <a:gd name="T58" fmla="*/ 2147483646 w 72"/>
              <a:gd name="T59" fmla="*/ 2147483646 h 72"/>
              <a:gd name="T60" fmla="*/ 2147483646 w 72"/>
              <a:gd name="T61" fmla="*/ 2147483646 h 72"/>
              <a:gd name="T62" fmla="*/ 2147483646 w 72"/>
              <a:gd name="T63" fmla="*/ 2147483646 h 72"/>
              <a:gd name="T64" fmla="*/ 2147483646 w 72"/>
              <a:gd name="T65" fmla="*/ 2147483646 h 72"/>
              <a:gd name="T66" fmla="*/ 2147483646 w 72"/>
              <a:gd name="T67" fmla="*/ 2147483646 h 72"/>
              <a:gd name="T68" fmla="*/ 2147483646 w 72"/>
              <a:gd name="T69" fmla="*/ 2147483646 h 72"/>
              <a:gd name="T70" fmla="*/ 2147483646 w 72"/>
              <a:gd name="T71" fmla="*/ 2147483646 h 72"/>
              <a:gd name="T72" fmla="*/ 2147483646 w 72"/>
              <a:gd name="T73" fmla="*/ 2147483646 h 72"/>
              <a:gd name="T74" fmla="*/ 2147483646 w 72"/>
              <a:gd name="T75" fmla="*/ 2147483646 h 72"/>
              <a:gd name="T76" fmla="*/ 2147483646 w 72"/>
              <a:gd name="T77" fmla="*/ 2147483646 h 72"/>
              <a:gd name="T78" fmla="*/ 2147483646 w 72"/>
              <a:gd name="T79" fmla="*/ 2147483646 h 72"/>
              <a:gd name="T80" fmla="*/ 2147483646 w 72"/>
              <a:gd name="T81" fmla="*/ 2147483646 h 72"/>
              <a:gd name="T82" fmla="*/ 2147483646 w 72"/>
              <a:gd name="T83" fmla="*/ 2147483646 h 72"/>
              <a:gd name="T84" fmla="*/ 2147483646 w 72"/>
              <a:gd name="T85" fmla="*/ 2147483646 h 72"/>
              <a:gd name="T86" fmla="*/ 2147483646 w 72"/>
              <a:gd name="T87" fmla="*/ 2147483646 h 72"/>
              <a:gd name="T88" fmla="*/ 2147483646 w 72"/>
              <a:gd name="T89" fmla="*/ 2147483646 h 72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" h="72">
                <a:moveTo>
                  <a:pt x="72" y="20"/>
                </a:moveTo>
                <a:cubicBezTo>
                  <a:pt x="72" y="68"/>
                  <a:pt x="72" y="68"/>
                  <a:pt x="72" y="68"/>
                </a:cubicBezTo>
                <a:cubicBezTo>
                  <a:pt x="72" y="71"/>
                  <a:pt x="71" y="72"/>
                  <a:pt x="69" y="72"/>
                </a:cubicBezTo>
                <a:cubicBezTo>
                  <a:pt x="30" y="72"/>
                  <a:pt x="30" y="72"/>
                  <a:pt x="30" y="72"/>
                </a:cubicBezTo>
                <a:cubicBezTo>
                  <a:pt x="28" y="72"/>
                  <a:pt x="26" y="71"/>
                  <a:pt x="26" y="68"/>
                </a:cubicBezTo>
                <a:cubicBezTo>
                  <a:pt x="26" y="57"/>
                  <a:pt x="26" y="57"/>
                  <a:pt x="26" y="57"/>
                </a:cubicBezTo>
                <a:cubicBezTo>
                  <a:pt x="4" y="57"/>
                  <a:pt x="4" y="57"/>
                  <a:pt x="4" y="57"/>
                </a:cubicBezTo>
                <a:cubicBezTo>
                  <a:pt x="2" y="57"/>
                  <a:pt x="0" y="55"/>
                  <a:pt x="0" y="53"/>
                </a:cubicBezTo>
                <a:cubicBezTo>
                  <a:pt x="0" y="26"/>
                  <a:pt x="0" y="26"/>
                  <a:pt x="0" y="26"/>
                </a:cubicBezTo>
                <a:cubicBezTo>
                  <a:pt x="0" y="24"/>
                  <a:pt x="2" y="21"/>
                  <a:pt x="3" y="19"/>
                </a:cubicBezTo>
                <a:cubicBezTo>
                  <a:pt x="20" y="3"/>
                  <a:pt x="20" y="3"/>
                  <a:pt x="20" y="3"/>
                </a:cubicBezTo>
                <a:cubicBezTo>
                  <a:pt x="21" y="2"/>
                  <a:pt x="24" y="0"/>
                  <a:pt x="26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5" y="0"/>
                  <a:pt x="47" y="2"/>
                  <a:pt x="47" y="4"/>
                </a:cubicBezTo>
                <a:cubicBezTo>
                  <a:pt x="47" y="17"/>
                  <a:pt x="47" y="17"/>
                  <a:pt x="47" y="17"/>
                </a:cubicBezTo>
                <a:cubicBezTo>
                  <a:pt x="48" y="16"/>
                  <a:pt x="50" y="16"/>
                  <a:pt x="52" y="16"/>
                </a:cubicBezTo>
                <a:cubicBezTo>
                  <a:pt x="69" y="16"/>
                  <a:pt x="69" y="16"/>
                  <a:pt x="69" y="16"/>
                </a:cubicBezTo>
                <a:cubicBezTo>
                  <a:pt x="71" y="16"/>
                  <a:pt x="72" y="17"/>
                  <a:pt x="72" y="20"/>
                </a:cubicBezTo>
                <a:close/>
                <a:moveTo>
                  <a:pt x="42" y="22"/>
                </a:moveTo>
                <a:cubicBezTo>
                  <a:pt x="42" y="5"/>
                  <a:pt x="42" y="5"/>
                  <a:pt x="42" y="5"/>
                </a:cubicBezTo>
                <a:cubicBezTo>
                  <a:pt x="26" y="5"/>
                  <a:pt x="26" y="5"/>
                  <a:pt x="26" y="5"/>
                </a:cubicBezTo>
                <a:cubicBezTo>
                  <a:pt x="26" y="22"/>
                  <a:pt x="26" y="22"/>
                  <a:pt x="26" y="22"/>
                </a:cubicBezTo>
                <a:cubicBezTo>
                  <a:pt x="26" y="24"/>
                  <a:pt x="24" y="26"/>
                  <a:pt x="22" y="26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52"/>
                  <a:pt x="6" y="52"/>
                  <a:pt x="6" y="52"/>
                </a:cubicBezTo>
                <a:cubicBezTo>
                  <a:pt x="26" y="52"/>
                  <a:pt x="26" y="52"/>
                  <a:pt x="26" y="52"/>
                </a:cubicBezTo>
                <a:cubicBezTo>
                  <a:pt x="26" y="41"/>
                  <a:pt x="26" y="41"/>
                  <a:pt x="26" y="41"/>
                </a:cubicBezTo>
                <a:cubicBezTo>
                  <a:pt x="26" y="39"/>
                  <a:pt x="27" y="36"/>
                  <a:pt x="29" y="35"/>
                </a:cubicBezTo>
                <a:lnTo>
                  <a:pt x="42" y="22"/>
                </a:lnTo>
                <a:close/>
                <a:moveTo>
                  <a:pt x="9" y="21"/>
                </a:moveTo>
                <a:cubicBezTo>
                  <a:pt x="21" y="21"/>
                  <a:pt x="21" y="21"/>
                  <a:pt x="21" y="21"/>
                </a:cubicBezTo>
                <a:cubicBezTo>
                  <a:pt x="21" y="9"/>
                  <a:pt x="21" y="9"/>
                  <a:pt x="21" y="9"/>
                </a:cubicBezTo>
                <a:lnTo>
                  <a:pt x="9" y="21"/>
                </a:lnTo>
                <a:close/>
                <a:moveTo>
                  <a:pt x="67" y="21"/>
                </a:moveTo>
                <a:cubicBezTo>
                  <a:pt x="52" y="21"/>
                  <a:pt x="52" y="21"/>
                  <a:pt x="52" y="21"/>
                </a:cubicBezTo>
                <a:cubicBezTo>
                  <a:pt x="52" y="38"/>
                  <a:pt x="52" y="38"/>
                  <a:pt x="52" y="38"/>
                </a:cubicBezTo>
                <a:cubicBezTo>
                  <a:pt x="52" y="40"/>
                  <a:pt x="50" y="41"/>
                  <a:pt x="48" y="41"/>
                </a:cubicBezTo>
                <a:cubicBezTo>
                  <a:pt x="31" y="41"/>
                  <a:pt x="31" y="41"/>
                  <a:pt x="31" y="41"/>
                </a:cubicBezTo>
                <a:cubicBezTo>
                  <a:pt x="31" y="67"/>
                  <a:pt x="31" y="67"/>
                  <a:pt x="31" y="67"/>
                </a:cubicBezTo>
                <a:cubicBezTo>
                  <a:pt x="67" y="67"/>
                  <a:pt x="67" y="67"/>
                  <a:pt x="67" y="67"/>
                </a:cubicBezTo>
                <a:lnTo>
                  <a:pt x="67" y="21"/>
                </a:lnTo>
                <a:close/>
                <a:moveTo>
                  <a:pt x="35" y="36"/>
                </a:moveTo>
                <a:cubicBezTo>
                  <a:pt x="47" y="36"/>
                  <a:pt x="47" y="36"/>
                  <a:pt x="47" y="36"/>
                </a:cubicBezTo>
                <a:cubicBezTo>
                  <a:pt x="47" y="24"/>
                  <a:pt x="47" y="24"/>
                  <a:pt x="47" y="24"/>
                </a:cubicBezTo>
                <a:lnTo>
                  <a:pt x="35" y="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926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dcmKhrp3XN6gfl8Iq0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wuZtTAePD4p523ZI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0qXdXcHgkiUXm4v25K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KbTcBXuAQUaoUe6eY72w"/>
</p:tagLst>
</file>

<file path=ppt/theme/theme1.xml><?xml version="1.0" encoding="utf-8"?>
<a:theme xmlns:a="http://schemas.openxmlformats.org/drawingml/2006/main" name="Bupa PPT template_4-3">
  <a:themeElements>
    <a:clrScheme name="BUPA">
      <a:dk1>
        <a:sysClr val="windowText" lastClr="000000"/>
      </a:dk1>
      <a:lt1>
        <a:sysClr val="window" lastClr="FFFFFF"/>
      </a:lt1>
      <a:dk2>
        <a:srgbClr val="00335B"/>
      </a:dk2>
      <a:lt2>
        <a:srgbClr val="009EE0"/>
      </a:lt2>
      <a:accent1>
        <a:srgbClr val="009EE0"/>
      </a:accent1>
      <a:accent2>
        <a:srgbClr val="40B6E8"/>
      </a:accent2>
      <a:accent3>
        <a:srgbClr val="7FCEEF"/>
      </a:accent3>
      <a:accent4>
        <a:srgbClr val="CCECF9"/>
      </a:accent4>
      <a:accent5>
        <a:srgbClr val="7F99AD"/>
      </a:accent5>
      <a:accent6>
        <a:srgbClr val="406684"/>
      </a:accent6>
      <a:hlink>
        <a:srgbClr val="00335B"/>
      </a:hlink>
      <a:folHlink>
        <a:srgbClr val="0033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pa PPT templates 4-3 covers" id="{0C206CA5-C062-BF49-8C3D-DD4F58D71244}" vid="{24EFBB6F-2A27-F848-BE28-97385C230F2C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 Roadshow V4</Template>
  <TotalTime>26314</TotalTime>
  <Words>29</Words>
  <Application>Microsoft Office PowerPoint</Application>
  <PresentationFormat>On-screen Show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Bupa PPT template_4-3</vt:lpstr>
      <vt:lpstr>1_Custom Design</vt:lpstr>
      <vt:lpstr>Custom Design</vt:lpstr>
      <vt:lpstr>think-cell Slide</vt:lpstr>
      <vt:lpstr>Daily Communication to SAMA – 15 March 202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y Mahdi</cp:lastModifiedBy>
  <cp:revision>590</cp:revision>
  <cp:lastPrinted>2018-01-28T13:34:37Z</cp:lastPrinted>
  <dcterms:created xsi:type="dcterms:W3CDTF">2018-01-28T06:24:06Z</dcterms:created>
  <dcterms:modified xsi:type="dcterms:W3CDTF">2020-03-15T13:11:18Z</dcterms:modified>
</cp:coreProperties>
</file>